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1049" r:id="rId2"/>
    <p:sldId id="1050" r:id="rId3"/>
    <p:sldId id="1065" r:id="rId4"/>
    <p:sldId id="1052" r:id="rId5"/>
    <p:sldId id="1053" r:id="rId6"/>
    <p:sldId id="1054" r:id="rId7"/>
    <p:sldId id="1055" r:id="rId8"/>
    <p:sldId id="1057" r:id="rId9"/>
    <p:sldId id="1058" r:id="rId10"/>
    <p:sldId id="1059" r:id="rId11"/>
    <p:sldId id="1060" r:id="rId12"/>
    <p:sldId id="1061" r:id="rId13"/>
    <p:sldId id="1062" r:id="rId14"/>
    <p:sldId id="1067" r:id="rId15"/>
    <p:sldId id="1068" r:id="rId16"/>
  </p:sldIdLst>
  <p:sldSz cx="12192000" cy="6858000"/>
  <p:notesSz cx="9309100" cy="70231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BD00"/>
    <a:srgbClr val="6D2077"/>
    <a:srgbClr val="04ABE7"/>
    <a:srgbClr val="ED8B00"/>
    <a:srgbClr val="0070C0"/>
    <a:srgbClr val="FFCF34"/>
    <a:srgbClr val="297DFD"/>
    <a:srgbClr val="004C97"/>
    <a:srgbClr val="43B64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05" autoAdjust="0"/>
    <p:restoredTop sz="91023" autoAdjust="0"/>
  </p:normalViewPr>
  <p:slideViewPr>
    <p:cSldViewPr snapToGrid="0" snapToObjects="1">
      <p:cViewPr varScale="1">
        <p:scale>
          <a:sx n="87" d="100"/>
          <a:sy n="87" d="100"/>
        </p:scale>
        <p:origin x="624" y="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3" d="100"/>
          <a:sy n="63" d="100"/>
        </p:scale>
        <p:origin x="2290" y="5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55689" y="211090"/>
            <a:ext cx="5103541" cy="35237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655689" y="618948"/>
            <a:ext cx="5103541" cy="248124"/>
          </a:xfrm>
          <a:prstGeom prst="rect">
            <a:avLst/>
          </a:prstGeom>
        </p:spPr>
        <p:txBody>
          <a:bodyPr vert="horz" wrap="square" lIns="93324" tIns="46662" rIns="93324" bIns="46662" rtlCol="0">
            <a:spAutoFit/>
          </a:bodyPr>
          <a:lstStyle>
            <a:lvl1pPr algn="r">
              <a:defRPr sz="1200"/>
            </a:lvl1pPr>
          </a:lstStyle>
          <a:p>
            <a:pPr algn="l"/>
            <a:fld id="{65AA117D-3416-4FDC-857D-A9F04743B702}" type="datetime1"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6/7/2018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55689" y="6595119"/>
            <a:ext cx="3829229" cy="248124"/>
          </a:xfrm>
          <a:prstGeom prst="rect">
            <a:avLst/>
          </a:prstGeom>
        </p:spPr>
        <p:txBody>
          <a:bodyPr vert="horz" wrap="square" lIns="93324" tIns="46662" rIns="93324" bIns="46662" rtlCol="0" anchor="ctr" anchorCtr="0">
            <a:spAutoFit/>
          </a:bodyPr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832458" y="6621260"/>
            <a:ext cx="3811278" cy="192476"/>
          </a:xfrm>
          <a:prstGeom prst="rect">
            <a:avLst/>
          </a:prstGeom>
        </p:spPr>
        <p:txBody>
          <a:bodyPr vert="horz" lIns="93324" tIns="46662" rIns="93324" bIns="46662" rtlCol="0" anchor="ctr" anchorCtr="0">
            <a:noAutofit/>
          </a:bodyPr>
          <a:lstStyle>
            <a:lvl1pPr algn="r">
              <a:defRPr sz="1200"/>
            </a:lvl1pPr>
          </a:lstStyle>
          <a:p>
            <a:fld id="{2D42B38D-B7DA-4624-8B02-421F27CC3EA2}" type="slidenum"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 bwMode="gray">
          <a:xfrm>
            <a:off x="6365240" y="283782"/>
            <a:ext cx="2278497" cy="279683"/>
            <a:chOff x="4813445" y="5397500"/>
            <a:chExt cx="2736850" cy="593725"/>
          </a:xfrm>
        </p:grpSpPr>
        <p:sp>
          <p:nvSpPr>
            <p:cNvPr id="13" name="Freeform 12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625798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30101" y="248735"/>
            <a:ext cx="5014502" cy="314730"/>
          </a:xfrm>
          <a:prstGeom prst="rect">
            <a:avLst/>
          </a:prstGeom>
        </p:spPr>
        <p:txBody>
          <a:bodyPr vert="horz" lIns="93324" tIns="46662" rIns="93324" bIns="46662" rtlCol="0">
            <a:no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0103" y="618948"/>
            <a:ext cx="4033943" cy="248124"/>
          </a:xfrm>
          <a:prstGeom prst="rect">
            <a:avLst/>
          </a:prstGeom>
        </p:spPr>
        <p:txBody>
          <a:bodyPr vert="horz" lIns="93324" tIns="46662" rIns="93324" bIns="46662" rtlCol="0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4E0FAE3F-6DF5-49E6-B52A-B19D855B10B7}" type="datetime1">
              <a:rPr lang="en-US" smtClean="0"/>
              <a:t>6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870575" y="5211763"/>
            <a:ext cx="2011363" cy="11318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54583" y="1123110"/>
            <a:ext cx="7999935" cy="397097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7414182" y="6595119"/>
            <a:ext cx="1229554" cy="248124"/>
          </a:xfrm>
          <a:prstGeom prst="rect">
            <a:avLst/>
          </a:prstGeom>
        </p:spPr>
        <p:txBody>
          <a:bodyPr vert="horz" wrap="square" lIns="93324" tIns="46662" rIns="93324" bIns="46662" rtlCol="0" anchor="ctr" anchorCtr="0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A4F26AD-F001-4E42-BEA6-77E8CAEACE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6365240" y="283782"/>
            <a:ext cx="2278497" cy="279683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3650770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171450" indent="-171450" algn="l" defTabSz="1219170" rtl="0" eaLnBrk="1" latinLnBrk="0" hangingPunct="1">
      <a:spcBef>
        <a:spcPts val="400"/>
      </a:spcBef>
      <a:buFont typeface="Arial" panose="020B0604020202020204" pitchFamily="34" charset="0"/>
      <a:buChar char="•"/>
      <a:defRPr sz="1600" kern="1200">
        <a:solidFill>
          <a:schemeClr val="tx2"/>
        </a:solidFill>
        <a:latin typeface="+mn-lt"/>
        <a:ea typeface="+mn-ea"/>
        <a:cs typeface="+mn-cs"/>
      </a:defRPr>
    </a:lvl1pPr>
    <a:lvl2pPr marL="463550" indent="-231775" algn="l" defTabSz="1219170" rtl="0" eaLnBrk="1" latinLnBrk="0" hangingPunct="1">
      <a:spcBef>
        <a:spcPts val="400"/>
      </a:spcBef>
      <a:buFont typeface="Arial" panose="020B0604020202020204" pitchFamily="34" charset="0"/>
      <a:buChar char="–"/>
      <a:defRPr sz="1600" kern="1200">
        <a:solidFill>
          <a:schemeClr val="tx2"/>
        </a:solidFill>
        <a:latin typeface="+mn-lt"/>
        <a:ea typeface="+mn-ea"/>
        <a:cs typeface="+mn-cs"/>
      </a:defRPr>
    </a:lvl2pPr>
    <a:lvl3pPr marL="682625" indent="-219075" algn="l" defTabSz="1219170" rtl="0" eaLnBrk="1" latinLnBrk="0" hangingPunct="1">
      <a:spcBef>
        <a:spcPts val="400"/>
      </a:spcBef>
      <a:buFont typeface="Arial" panose="020B0604020202020204" pitchFamily="34" charset="0"/>
      <a:buChar char="–"/>
      <a:defRPr sz="1600" kern="1200">
        <a:solidFill>
          <a:schemeClr val="tx2"/>
        </a:solidFill>
        <a:latin typeface="+mn-lt"/>
        <a:ea typeface="+mn-ea"/>
        <a:cs typeface="+mn-cs"/>
      </a:defRPr>
    </a:lvl3pPr>
    <a:lvl4pPr marL="914400" indent="-231775" algn="l" defTabSz="1219170" rtl="0" eaLnBrk="1" latinLnBrk="0" hangingPunct="1">
      <a:spcBef>
        <a:spcPts val="400"/>
      </a:spcBef>
      <a:buFont typeface="Arial" panose="020B0604020202020204" pitchFamily="34" charset="0"/>
      <a:buChar char="–"/>
      <a:defRPr sz="1600" kern="1200">
        <a:solidFill>
          <a:schemeClr val="tx2"/>
        </a:solidFill>
        <a:latin typeface="+mn-lt"/>
        <a:ea typeface="+mn-ea"/>
        <a:cs typeface="+mn-cs"/>
      </a:defRPr>
    </a:lvl4pPr>
    <a:lvl5pPr marL="1146175" indent="-231775" algn="l" defTabSz="1219170" rtl="0" eaLnBrk="1" latinLnBrk="0" hangingPunct="1">
      <a:spcBef>
        <a:spcPts val="400"/>
      </a:spcBef>
      <a:buFont typeface="Arial" panose="020B0604020202020204" pitchFamily="34" charset="0"/>
      <a:buChar char="–"/>
      <a:defRPr sz="1600" kern="1200">
        <a:solidFill>
          <a:schemeClr val="tx2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52C50-B97B-4A96-85E8-7A3CF2ED1C4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309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52C50-B97B-4A96-85E8-7A3CF2ED1C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497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14313"/>
            <a:ext cx="12187070" cy="26436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1560" y="2032000"/>
            <a:ext cx="11135385" cy="1053179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defRPr sz="28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559" y="3352077"/>
            <a:ext cx="7608731" cy="7386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buNone/>
              <a:defRPr sz="1400" i="0" baseline="0">
                <a:solidFill>
                  <a:schemeClr val="tx2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uthor First Last Name</a:t>
            </a:r>
          </a:p>
          <a:p>
            <a:r>
              <a:rPr lang="en-US" dirty="0"/>
              <a:t>Title</a:t>
            </a:r>
          </a:p>
          <a:p>
            <a:r>
              <a:rPr lang="en-US" dirty="0"/>
              <a:t>Date</a:t>
            </a:r>
          </a:p>
        </p:txBody>
      </p:sp>
      <p:grpSp>
        <p:nvGrpSpPr>
          <p:cNvPr id="78" name="Group 77"/>
          <p:cNvGrpSpPr/>
          <p:nvPr/>
        </p:nvGrpSpPr>
        <p:grpSpPr bwMode="gray">
          <a:xfrm>
            <a:off x="9503277" y="389081"/>
            <a:ext cx="2123668" cy="1338119"/>
            <a:chOff x="4795838" y="3390900"/>
            <a:chExt cx="2763837" cy="1741488"/>
          </a:xfrm>
        </p:grpSpPr>
        <p:sp>
          <p:nvSpPr>
            <p:cNvPr id="79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5" name="Rectangle 84"/>
          <p:cNvSpPr/>
          <p:nvPr/>
        </p:nvSpPr>
        <p:spPr bwMode="gray">
          <a:xfrm>
            <a:off x="0" y="6410036"/>
            <a:ext cx="12192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80865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tx2"/>
                </a:solidFill>
                <a:ea typeface="Arial" charset="0"/>
                <a:cs typeface="Arial" charset="0"/>
              </a:rPr>
              <a:t>Copyright © 2017 </a:t>
            </a:r>
            <a:r>
              <a:rPr lang="en-US" sz="900" dirty="0" err="1">
                <a:solidFill>
                  <a:schemeClr val="tx2"/>
                </a:solidFill>
                <a:ea typeface="Arial" charset="0"/>
                <a:cs typeface="Arial" charset="0"/>
              </a:rPr>
              <a:t>QuintilesIMS</a:t>
            </a:r>
            <a:r>
              <a:rPr lang="en-US" sz="900" dirty="0">
                <a:solidFill>
                  <a:schemeClr val="tx2"/>
                </a:solidFill>
                <a:ea typeface="Arial" charset="0"/>
                <a:cs typeface="Arial" charset="0"/>
              </a:rPr>
              <a:t>. All rights reserved.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12442305" y="1754583"/>
            <a:ext cx="297180" cy="3348834"/>
            <a:chOff x="9662160" y="1842328"/>
            <a:chExt cx="297180" cy="3348834"/>
          </a:xfrm>
        </p:grpSpPr>
        <p:sp>
          <p:nvSpPr>
            <p:cNvPr id="89" name="Rectangle 88"/>
            <p:cNvSpPr/>
            <p:nvPr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Rectangle 89"/>
            <p:cNvSpPr/>
            <p:nvPr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Rectangle 90"/>
            <p:cNvSpPr/>
            <p:nvPr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Rectangle 91"/>
            <p:cNvSpPr/>
            <p:nvPr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Rectangle 92"/>
            <p:cNvSpPr/>
            <p:nvPr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Rectangle 93"/>
            <p:cNvSpPr/>
            <p:nvPr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5" name="Rectangle 94"/>
            <p:cNvSpPr/>
            <p:nvPr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6" name="Rectangle 95"/>
            <p:cNvSpPr/>
            <p:nvPr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8083295" y="1634072"/>
            <a:ext cx="3556000" cy="453581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519113" indent="-23653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744538" indent="-22542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971550" indent="-2270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1196975" indent="-225425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97679" y="1634072"/>
            <a:ext cx="3556000" cy="453581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900"/>
              </a:spcBef>
              <a:defRPr sz="1600">
                <a:solidFill>
                  <a:schemeClr val="tx2"/>
                </a:solidFill>
              </a:defRPr>
            </a:lvl1pPr>
            <a:lvl2pPr marL="517525" indent="-23177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738188" indent="-22066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969963" indent="-23177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1200150" indent="-23018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12063" y="1634072"/>
            <a:ext cx="3556000" cy="4535819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517525" indent="-23177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738188" indent="-22066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969963" indent="-23177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1200150" indent="-23018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203200"/>
            <a:ext cx="11131296" cy="694944"/>
          </a:xfrm>
          <a:prstGeom prst="rect">
            <a:avLst/>
          </a:prstGeom>
        </p:spPr>
        <p:txBody>
          <a:bodyPr rtlCol="0" anchor="b" anchorCtr="0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907714"/>
            <a:ext cx="11131296" cy="4001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2133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133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2133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2133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Subheads are 20pt Arial sentence case</a:t>
            </a: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198254" y="6409943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198254" y="6409943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tent Slide_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198254" y="6409943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dirty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12442305" y="1754583"/>
            <a:ext cx="297180" cy="3348834"/>
            <a:chOff x="9662160" y="1842328"/>
            <a:chExt cx="297180" cy="3348834"/>
          </a:xfrm>
        </p:grpSpPr>
        <p:sp>
          <p:nvSpPr>
            <p:cNvPr id="6" name="Rectangle 5"/>
            <p:cNvSpPr/>
            <p:nvPr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77561" y="6424615"/>
            <a:ext cx="1016000" cy="228600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73584"/>
            <a:ext cx="12192000" cy="1384416"/>
          </a:xfrm>
          <a:prstGeom prst="rect">
            <a:avLst/>
          </a:prstGeom>
        </p:spPr>
      </p:pic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14656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b="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4" name="Rectangle 53"/>
          <p:cNvSpPr/>
          <p:nvPr/>
        </p:nvSpPr>
        <p:spPr bwMode="gray">
          <a:xfrm>
            <a:off x="0" y="1"/>
            <a:ext cx="12192000" cy="2042764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904454"/>
            <a:ext cx="10972800" cy="1030391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pPr defTabSz="914400"/>
            <a:r>
              <a:rPr lang="en-US" dirty="0"/>
              <a:t>Divider 24pt Arial Bold Title Case</a:t>
            </a:r>
          </a:p>
        </p:txBody>
      </p:sp>
      <p:sp>
        <p:nvSpPr>
          <p:cNvPr id="99" name="Slide Number Placeholder 6"/>
          <p:cNvSpPr txBox="1">
            <a:spLocks/>
          </p:cNvSpPr>
          <p:nvPr/>
        </p:nvSpPr>
        <p:spPr>
          <a:xfrm>
            <a:off x="10877561" y="6027451"/>
            <a:ext cx="1016000" cy="228600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73584"/>
            <a:ext cx="12192000" cy="1384416"/>
          </a:xfrm>
          <a:prstGeom prst="rect">
            <a:avLst/>
          </a:prstGeom>
        </p:spPr>
      </p:pic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14656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b="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4" name="Rectangle 53"/>
          <p:cNvSpPr/>
          <p:nvPr/>
        </p:nvSpPr>
        <p:spPr bwMode="gray">
          <a:xfrm>
            <a:off x="0" y="1"/>
            <a:ext cx="12192000" cy="2042764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904454"/>
            <a:ext cx="10972800" cy="1030391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pPr defTabSz="914400"/>
            <a:r>
              <a:rPr lang="en-US" dirty="0"/>
              <a:t>Divider 24pt Arial Bold Title Case</a:t>
            </a:r>
          </a:p>
        </p:txBody>
      </p:sp>
      <p:sp>
        <p:nvSpPr>
          <p:cNvPr id="99" name="Slide Number Placeholder 6"/>
          <p:cNvSpPr txBox="1">
            <a:spLocks/>
          </p:cNvSpPr>
          <p:nvPr/>
        </p:nvSpPr>
        <p:spPr>
          <a:xfrm>
            <a:off x="10877561" y="6027451"/>
            <a:ext cx="1016000" cy="228600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73584"/>
            <a:ext cx="12192000" cy="1384416"/>
          </a:xfrm>
          <a:prstGeom prst="rect">
            <a:avLst/>
          </a:prstGeom>
        </p:spPr>
      </p:pic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14656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b="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4" name="Rectangle 53"/>
          <p:cNvSpPr/>
          <p:nvPr/>
        </p:nvSpPr>
        <p:spPr bwMode="gray">
          <a:xfrm>
            <a:off x="0" y="1"/>
            <a:ext cx="12192000" cy="2042764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904454"/>
            <a:ext cx="10972800" cy="1030391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pPr defTabSz="914400"/>
            <a:r>
              <a:rPr lang="en-US" dirty="0"/>
              <a:t>Divider 24pt Arial Bold Title Case</a:t>
            </a:r>
          </a:p>
        </p:txBody>
      </p:sp>
      <p:sp>
        <p:nvSpPr>
          <p:cNvPr id="99" name="Slide Number Placeholder 6"/>
          <p:cNvSpPr txBox="1">
            <a:spLocks/>
          </p:cNvSpPr>
          <p:nvPr/>
        </p:nvSpPr>
        <p:spPr>
          <a:xfrm>
            <a:off x="10877561" y="6027451"/>
            <a:ext cx="1016000" cy="228600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73584"/>
            <a:ext cx="12192000" cy="1384416"/>
          </a:xfrm>
          <a:prstGeom prst="rect">
            <a:avLst/>
          </a:prstGeom>
        </p:spPr>
      </p:pic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14656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b="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4" name="Rectangle 53"/>
          <p:cNvSpPr/>
          <p:nvPr/>
        </p:nvSpPr>
        <p:spPr bwMode="gray">
          <a:xfrm>
            <a:off x="0" y="1"/>
            <a:ext cx="12192000" cy="2042764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904454"/>
            <a:ext cx="10972800" cy="1030391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pPr defTabSz="914400"/>
            <a:r>
              <a:rPr lang="en-US" dirty="0"/>
              <a:t>Divider 24pt Arial Bold Title Case</a:t>
            </a:r>
          </a:p>
        </p:txBody>
      </p:sp>
      <p:sp>
        <p:nvSpPr>
          <p:cNvPr id="99" name="Slide Number Placeholder 6"/>
          <p:cNvSpPr txBox="1">
            <a:spLocks/>
          </p:cNvSpPr>
          <p:nvPr/>
        </p:nvSpPr>
        <p:spPr>
          <a:xfrm>
            <a:off x="10877561" y="6027451"/>
            <a:ext cx="1016000" cy="228600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73584"/>
            <a:ext cx="12192000" cy="1384416"/>
          </a:xfrm>
          <a:prstGeom prst="rect">
            <a:avLst/>
          </a:prstGeom>
        </p:spPr>
      </p:pic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14656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b="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4" name="Rectangle 53"/>
          <p:cNvSpPr/>
          <p:nvPr/>
        </p:nvSpPr>
        <p:spPr bwMode="gray">
          <a:xfrm>
            <a:off x="0" y="1"/>
            <a:ext cx="12192000" cy="2042764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904454"/>
            <a:ext cx="10972800" cy="1030391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4000" b="0" i="0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pPr defTabSz="914400"/>
            <a:r>
              <a:rPr lang="en-US" dirty="0"/>
              <a:t>Divider 24pt Arial Bold Title Case</a:t>
            </a:r>
          </a:p>
        </p:txBody>
      </p:sp>
      <p:sp>
        <p:nvSpPr>
          <p:cNvPr id="99" name="Slide Number Placeholder 6"/>
          <p:cNvSpPr txBox="1">
            <a:spLocks/>
          </p:cNvSpPr>
          <p:nvPr/>
        </p:nvSpPr>
        <p:spPr>
          <a:xfrm>
            <a:off x="10877561" y="6027451"/>
            <a:ext cx="1016000" cy="228600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583703" y="4905017"/>
            <a:ext cx="10410334" cy="740004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1575"/>
            <a:ext cx="12192000" cy="4714848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198254" y="6409943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58580" y="1718601"/>
            <a:ext cx="10464800" cy="498598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2400" b="0" i="0" baseline="0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r>
              <a:rPr lang="en-US" dirty="0"/>
              <a:t>Thought slide content 24pt Arial sentence cas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782736"/>
            <a:ext cx="12192000" cy="1075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17021" y="1752603"/>
            <a:ext cx="10684331" cy="1484093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75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section slide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7071013" y="5783806"/>
            <a:ext cx="4763179" cy="1009969"/>
            <a:chOff x="7071013" y="5783806"/>
            <a:chExt cx="4763179" cy="1009969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0171" y="6018855"/>
              <a:ext cx="2234021" cy="634712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71013" y="5883210"/>
              <a:ext cx="2171350" cy="723783"/>
            </a:xfrm>
            <a:prstGeom prst="rect">
              <a:avLst/>
            </a:prstGeom>
          </p:spPr>
        </p:pic>
        <p:cxnSp>
          <p:nvCxnSpPr>
            <p:cNvPr id="9" name="Straight Connector 8"/>
            <p:cNvCxnSpPr/>
            <p:nvPr userDrawn="1"/>
          </p:nvCxnSpPr>
          <p:spPr>
            <a:xfrm>
              <a:off x="9409671" y="5783806"/>
              <a:ext cx="0" cy="1009969"/>
            </a:xfrm>
            <a:prstGeom prst="line">
              <a:avLst/>
            </a:prstGeom>
            <a:ln w="12700" cmpd="sng">
              <a:gradFill flip="none" rotWithShape="1"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/>
                  </a:gs>
                </a:gsLst>
                <a:path path="circle">
                  <a:fillToRect l="50000" t="50000" r="50000" b="50000"/>
                </a:path>
                <a:tileRect/>
              </a:gra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26371959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12063" y="1634072"/>
            <a:ext cx="11131296" cy="453581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533387" indent="-237061">
              <a:spcBef>
                <a:spcPts val="600"/>
              </a:spcBef>
              <a:buFont typeface="Arial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761981" indent="-228594">
              <a:spcBef>
                <a:spcPts val="600"/>
              </a:spcBef>
              <a:buFont typeface="Arial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990575" indent="-228594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1200150" indent="-23018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203200"/>
            <a:ext cx="11131296" cy="6981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198254" y="6414656"/>
            <a:ext cx="9060873" cy="443343"/>
          </a:xfrm>
          <a:prstGeom prst="rect">
            <a:avLst/>
          </a:prstGeom>
        </p:spPr>
        <p:txBody>
          <a:bodyPr/>
          <a:lstStyle>
            <a:lvl1pPr algn="l">
              <a:defRPr sz="800" dirty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063" y="907714"/>
            <a:ext cx="11131296" cy="4001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/>
              <a:t>Subheads are 20pt Arial sentence cas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647619" y="1599641"/>
            <a:ext cx="5291328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313360" y="1599641"/>
            <a:ext cx="5374259" cy="450032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829733" y="6318252"/>
            <a:ext cx="7636934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MS Health Confidential</a:t>
            </a:r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47619" y="75203"/>
            <a:ext cx="1104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47619" y="1000035"/>
            <a:ext cx="1104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7619" y="1088231"/>
            <a:ext cx="1104000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588481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Z:\Events\2014\eGAM\slides\world-map.png"/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8449" y="-1"/>
            <a:ext cx="2062460" cy="1134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5"/>
          <p:cNvSpPr txBox="1">
            <a:spLocks/>
          </p:cNvSpPr>
          <p:nvPr userDrawn="1"/>
        </p:nvSpPr>
        <p:spPr bwMode="auto">
          <a:xfrm>
            <a:off x="11481859" y="6371168"/>
            <a:ext cx="7112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A7DDD894-E12C-445A-B1AE-C4DB64F96F78}" type="slidenum">
              <a:rPr lang="en-US" sz="1333">
                <a:solidFill>
                  <a:srgbClr val="828282"/>
                </a:solidFill>
              </a:rPr>
              <a:pPr eaLnBrk="1" hangingPunct="1"/>
              <a:t>‹#›</a:t>
            </a:fld>
            <a:endParaRPr lang="en-US" sz="1333" dirty="0">
              <a:solidFill>
                <a:srgbClr val="82828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flipV="1">
            <a:off x="10224459" y="1122212"/>
            <a:ext cx="1967541" cy="48768"/>
          </a:xfrm>
          <a:prstGeom prst="rect">
            <a:avLst/>
          </a:prstGeom>
          <a:solidFill>
            <a:srgbClr val="2D82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>
                  <a:noFill/>
                </a:ln>
              </a:rPr>
              <a:t>     </a:t>
            </a:r>
          </a:p>
        </p:txBody>
      </p:sp>
      <p:sp>
        <p:nvSpPr>
          <p:cNvPr id="10" name="Rectangle 9"/>
          <p:cNvSpPr/>
          <p:nvPr userDrawn="1"/>
        </p:nvSpPr>
        <p:spPr>
          <a:xfrm flipV="1">
            <a:off x="0" y="1122721"/>
            <a:ext cx="10224459" cy="4876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>
                  <a:noFill/>
                </a:ln>
              </a:rPr>
              <a:t>     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30200" y="0"/>
            <a:ext cx="9914069" cy="990600"/>
          </a:xfrm>
          <a:prstGeom prst="rect">
            <a:avLst/>
          </a:prstGeom>
        </p:spPr>
        <p:txBody>
          <a:bodyPr anchor="ctr" anchorCtr="0"/>
          <a:lstStyle>
            <a:lvl1pPr algn="l">
              <a:defRPr sz="3733" b="1">
                <a:solidFill>
                  <a:srgbClr val="008CDD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54093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47619" y="75203"/>
            <a:ext cx="1104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47619" y="1000035"/>
            <a:ext cx="1104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7619" y="1088231"/>
            <a:ext cx="1104000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2000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829733" y="6318252"/>
            <a:ext cx="7636934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3726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5203"/>
            <a:ext cx="109728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755086" y="6316115"/>
            <a:ext cx="7636933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41656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5203"/>
            <a:ext cx="10972801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829733" y="6318252"/>
            <a:ext cx="7636934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IMS Health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0981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1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902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12063" y="1214184"/>
            <a:ext cx="11131296" cy="4902693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600"/>
              </a:spcBef>
              <a:defRPr sz="1600">
                <a:solidFill>
                  <a:schemeClr val="tx2"/>
                </a:solidFill>
              </a:defRPr>
            </a:lvl1pPr>
            <a:lvl2pPr marL="533387" indent="-237061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761981" indent="-228594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990575" indent="-228594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1200150" indent="-23018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203200"/>
            <a:ext cx="11131296" cy="6949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198254" y="6414656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llout w/photo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 bwMode="white">
          <a:xfrm>
            <a:off x="10934700" y="5765331"/>
            <a:ext cx="1009648" cy="342900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9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18"/>
          </p:nvPr>
        </p:nvSpPr>
        <p:spPr bwMode="gray">
          <a:xfrm>
            <a:off x="3560064" y="6629400"/>
            <a:ext cx="4932003" cy="228600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rgbClr val="007DBA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609600" y="6629400"/>
            <a:ext cx="2844800" cy="228600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007DBA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205"/>
            <a:ext cx="12192000" cy="1142795"/>
          </a:xfrm>
          <a:prstGeom prst="rect">
            <a:avLst/>
          </a:prstGeom>
        </p:spPr>
      </p:pic>
      <p:sp>
        <p:nvSpPr>
          <p:cNvPr id="13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512063" y="1634073"/>
            <a:ext cx="11131296" cy="3918316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600"/>
              </a:spcBef>
              <a:defRPr sz="1600">
                <a:solidFill>
                  <a:schemeClr val="tx2"/>
                </a:solidFill>
                <a:latin typeface="+mj-lt"/>
              </a:defRPr>
            </a:lvl1pPr>
            <a:lvl2pPr marL="533387" indent="-237061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2pPr>
            <a:lvl3pPr marL="761981" indent="-228594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3pPr>
            <a:lvl4pPr marL="990575" indent="-228594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4pPr>
            <a:lvl5pPr marL="1200150" indent="-2095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12063" y="907714"/>
            <a:ext cx="11131296" cy="40011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2133" i="1"/>
            </a:lvl2pPr>
            <a:lvl3pPr>
              <a:buNone/>
              <a:defRPr sz="2133" i="1"/>
            </a:lvl3pPr>
            <a:lvl4pPr>
              <a:buNone/>
              <a:defRPr sz="2133" i="1"/>
            </a:lvl4pPr>
            <a:lvl5pPr>
              <a:buNone/>
              <a:defRPr sz="2133" i="1"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Subheads are 20pt Arial sentence case</a:t>
            </a:r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203200"/>
            <a:ext cx="11131296" cy="6949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24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12063" y="5880234"/>
            <a:ext cx="7717536" cy="81253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bg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bg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</a:t>
            </a:r>
          </a:p>
          <a:p>
            <a:pPr lvl="1"/>
            <a:r>
              <a:rPr lang="en-US" noProof="0" dirty="0"/>
              <a:t>Bullet Arial 12pt</a:t>
            </a:r>
          </a:p>
          <a:p>
            <a:pPr lvl="1"/>
            <a:r>
              <a:rPr lang="en-US" noProof="0" dirty="0"/>
              <a:t>Bullet Arial 12pt</a:t>
            </a:r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>
          <a:xfrm>
            <a:off x="10991865" y="6581783"/>
            <a:ext cx="1016000" cy="228600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333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198254" y="6409943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dirty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203200"/>
            <a:ext cx="11131296" cy="6949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24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907714"/>
            <a:ext cx="11131296" cy="4001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2133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133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2133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2133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Subheads are 20pt Arial sentence cas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203200"/>
            <a:ext cx="11131296" cy="6949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198254" y="6409943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dirty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A5B4F-8F04-4D03-995A-B672FAE82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2763972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E2B74-7BCE-4E0C-BD7F-F62948E0E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2106985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28"/>
          <p:cNvSpPr>
            <a:spLocks noGrp="1"/>
          </p:cNvSpPr>
          <p:nvPr>
            <p:ph sz="quarter" idx="14" hasCustomPrompt="1"/>
          </p:nvPr>
        </p:nvSpPr>
        <p:spPr>
          <a:xfrm>
            <a:off x="6258559" y="1634072"/>
            <a:ext cx="5384800" cy="453581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000"/>
              </a:spcBef>
              <a:defRPr sz="1600">
                <a:solidFill>
                  <a:schemeClr val="tx2"/>
                </a:solidFill>
                <a:latin typeface="+mj-lt"/>
              </a:defRPr>
            </a:lvl1pPr>
            <a:lvl2pPr marL="517525" indent="-23177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2pPr>
            <a:lvl3pPr marL="738188" indent="-22066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3pPr>
            <a:lvl4pPr marL="969963" indent="-23177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4pPr>
            <a:lvl5pPr marL="1200150" indent="-23018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 hasCustomPrompt="1"/>
          </p:nvPr>
        </p:nvSpPr>
        <p:spPr>
          <a:xfrm>
            <a:off x="512063" y="1634072"/>
            <a:ext cx="5384800" cy="4535819"/>
          </a:xfrm>
          <a:prstGeom prst="rect">
            <a:avLst/>
          </a:prstGeom>
        </p:spPr>
        <p:txBody>
          <a:bodyPr/>
          <a:lstStyle>
            <a:lvl1pPr marL="228594" indent="-228594">
              <a:spcBef>
                <a:spcPts val="1000"/>
              </a:spcBef>
              <a:defRPr sz="1600" b="0">
                <a:solidFill>
                  <a:schemeClr val="tx2"/>
                </a:solidFill>
                <a:latin typeface="+mj-lt"/>
              </a:defRPr>
            </a:lvl1pPr>
            <a:lvl2pPr marL="517525" indent="-23177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2pPr>
            <a:lvl3pPr marL="738188" indent="-22066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3pPr>
            <a:lvl4pPr marL="969963" indent="-231775" defTabSz="1025525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4pPr>
            <a:lvl5pPr marL="1200150" indent="-23018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907714"/>
            <a:ext cx="11131296" cy="4001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2133" i="1">
                <a:solidFill>
                  <a:srgbClr val="414343"/>
                </a:solidFill>
              </a:defRPr>
            </a:lvl2pPr>
            <a:lvl3pPr>
              <a:buNone/>
              <a:defRPr sz="2133" i="1">
                <a:solidFill>
                  <a:srgbClr val="414343"/>
                </a:solidFill>
              </a:defRPr>
            </a:lvl3pPr>
            <a:lvl4pPr>
              <a:buNone/>
              <a:defRPr sz="2133" i="1">
                <a:solidFill>
                  <a:srgbClr val="414343"/>
                </a:solidFill>
              </a:defRPr>
            </a:lvl4pPr>
            <a:lvl5pPr>
              <a:buNone/>
              <a:defRPr sz="2133" i="1">
                <a:solidFill>
                  <a:srgbClr val="414343"/>
                </a:solidFill>
              </a:defRPr>
            </a:lvl5pPr>
          </a:lstStyle>
          <a:p>
            <a:pPr lvl="0"/>
            <a:r>
              <a:rPr lang="en-US" dirty="0"/>
              <a:t>Subheads are 20pt Arial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203200"/>
            <a:ext cx="11131296" cy="694944"/>
          </a:xfrm>
          <a:prstGeom prst="rect">
            <a:avLst/>
          </a:prstGeom>
        </p:spPr>
        <p:txBody>
          <a:bodyPr rtlCol="0" anchor="b" anchorCtr="0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198254" y="6409943"/>
            <a:ext cx="9061704" cy="448056"/>
          </a:xfrm>
          <a:prstGeom prst="rect">
            <a:avLst/>
          </a:prstGeom>
        </p:spPr>
        <p:txBody>
          <a:bodyPr/>
          <a:lstStyle>
            <a:lvl1pPr algn="l">
              <a:defRPr sz="8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6"/>
          <p:cNvSpPr txBox="1">
            <a:spLocks/>
          </p:cNvSpPr>
          <p:nvPr/>
        </p:nvSpPr>
        <p:spPr>
          <a:xfrm>
            <a:off x="10877561" y="6424615"/>
            <a:ext cx="1016000" cy="228600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 userDrawn="1"/>
        </p:nvGrpSpPr>
        <p:grpSpPr bwMode="gray">
          <a:xfrm>
            <a:off x="471488" y="6345968"/>
            <a:ext cx="1332641" cy="289100"/>
            <a:chOff x="4813445" y="5397500"/>
            <a:chExt cx="2736850" cy="593725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13"/>
          <p:cNvGrpSpPr/>
          <p:nvPr userDrawn="1"/>
        </p:nvGrpSpPr>
        <p:grpSpPr>
          <a:xfrm>
            <a:off x="12442305" y="1754583"/>
            <a:ext cx="297180" cy="3348834"/>
            <a:chOff x="9662160" y="1842328"/>
            <a:chExt cx="297180" cy="3348834"/>
          </a:xfrm>
        </p:grpSpPr>
        <p:sp>
          <p:nvSpPr>
            <p:cNvPr id="16" name="Rectangle 15"/>
            <p:cNvSpPr/>
            <p:nvPr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700" r:id="rId7"/>
    <p:sldLayoutId id="2147483701" r:id="rId8"/>
    <p:sldLayoutId id="2147483667" r:id="rId9"/>
    <p:sldLayoutId id="2147483668" r:id="rId10"/>
    <p:sldLayoutId id="2147483669" r:id="rId11"/>
    <p:sldLayoutId id="2147483670" r:id="rId12"/>
    <p:sldLayoutId id="2147483686" r:id="rId13"/>
    <p:sldLayoutId id="2147483685" r:id="rId14"/>
    <p:sldLayoutId id="2147483684" r:id="rId15"/>
    <p:sldLayoutId id="2147483683" r:id="rId16"/>
    <p:sldLayoutId id="2147483671" r:id="rId17"/>
    <p:sldLayoutId id="2147483672" r:id="rId18"/>
    <p:sldLayoutId id="2147483675" r:id="rId19"/>
    <p:sldLayoutId id="2147483682" r:id="rId20"/>
    <p:sldLayoutId id="2147483688" r:id="rId21"/>
    <p:sldLayoutId id="2147483689" r:id="rId22"/>
    <p:sldLayoutId id="2147483696" r:id="rId23"/>
    <p:sldLayoutId id="2147483697" r:id="rId24"/>
    <p:sldLayoutId id="2147483699" r:id="rId25"/>
  </p:sldLayoutIdLst>
  <p:transition spd="med"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733" kern="1200">
          <a:solidFill>
            <a:srgbClr val="006A71"/>
          </a:solidFill>
          <a:latin typeface="+mn-lt"/>
          <a:ea typeface="ＭＳ Ｐゴシック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733">
          <a:solidFill>
            <a:srgbClr val="006A7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733">
          <a:solidFill>
            <a:srgbClr val="006A7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733">
          <a:solidFill>
            <a:srgbClr val="006A7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733">
          <a:solidFill>
            <a:srgbClr val="006A71"/>
          </a:solidFill>
          <a:latin typeface="Arial" charset="0"/>
          <a:ea typeface="ＭＳ Ｐゴシック" charset="-128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733">
          <a:solidFill>
            <a:srgbClr val="006A71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733">
          <a:solidFill>
            <a:srgbClr val="006A71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733">
          <a:solidFill>
            <a:srgbClr val="006A71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733">
          <a:solidFill>
            <a:srgbClr val="006A71"/>
          </a:solidFill>
          <a:latin typeface="Arial" charset="0"/>
        </a:defRPr>
      </a:lvl9pPr>
    </p:titleStyle>
    <p:bodyStyle>
      <a:lvl1pPr marL="306910" indent="-30691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414343"/>
          </a:solidFill>
          <a:latin typeface="+mn-lt"/>
          <a:ea typeface="ＭＳ Ｐゴシック" charset="-128"/>
          <a:cs typeface="+mn-cs"/>
        </a:defRPr>
      </a:lvl1pPr>
      <a:lvl2pPr marL="609585" indent="-313259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&gt;"/>
        <a:defRPr sz="2133" kern="1200">
          <a:solidFill>
            <a:srgbClr val="414343"/>
          </a:solidFill>
          <a:latin typeface="+mn-lt"/>
          <a:ea typeface="ＭＳ Ｐゴシック" charset="-128"/>
          <a:cs typeface="+mn-cs"/>
        </a:defRPr>
      </a:lvl2pPr>
      <a:lvl3pPr marL="905911" indent="-296326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2133" kern="1200">
          <a:solidFill>
            <a:srgbClr val="414343"/>
          </a:solidFill>
          <a:latin typeface="+mn-lt"/>
          <a:ea typeface="ＭＳ Ｐゴシック" charset="-128"/>
          <a:cs typeface="+mn-cs"/>
        </a:defRPr>
      </a:lvl3pPr>
      <a:lvl4pPr marL="1219170" indent="-31325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rgbClr val="414343"/>
          </a:solidFill>
          <a:latin typeface="+mn-lt"/>
          <a:ea typeface="ＭＳ Ｐゴシック" charset="-128"/>
          <a:cs typeface="+mn-cs"/>
        </a:defRPr>
      </a:lvl4pPr>
      <a:lvl5pPr marL="1526079" indent="-29632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33" kern="1200">
          <a:solidFill>
            <a:srgbClr val="414343"/>
          </a:solidFill>
          <a:latin typeface="+mn-lt"/>
          <a:ea typeface="ＭＳ Ｐゴシック" charset="-128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01018" y="1255171"/>
            <a:ext cx="9104506" cy="100332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algn="ctr"/>
            <a:endParaRPr lang="en-US" sz="1600" b="1" dirty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r>
              <a:rPr lang="fr-FR" sz="1600" b="1" dirty="0">
                <a:solidFill>
                  <a:schemeClr val="accent2">
                    <a:lumMod val="75000"/>
                  </a:schemeClr>
                </a:solidFill>
              </a:rPr>
              <a:t>Hackathon Project</a:t>
            </a: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 : POTENTIAL PHYSICIANS FOR MARKETING ON SOCIAL MEDIA</a:t>
            </a:r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67979" y="3793683"/>
            <a:ext cx="6170584" cy="214795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algn="ctr"/>
            <a:endParaRPr lang="en-US" sz="1600" b="1" dirty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Presented By</a:t>
            </a:r>
          </a:p>
          <a:p>
            <a:pPr algn="ctr">
              <a:lnSpc>
                <a:spcPct val="110000"/>
              </a:lnSpc>
              <a:spcBef>
                <a:spcPts val="400"/>
              </a:spcBef>
            </a:pPr>
            <a:r>
              <a:rPr lang="en-US" sz="1600" dirty="0">
                <a:solidFill>
                  <a:srgbClr val="000000"/>
                </a:solidFill>
                <a:cs typeface="Times New Roman"/>
              </a:rPr>
              <a:t> </a:t>
            </a:r>
          </a:p>
          <a:p>
            <a:pPr algn="ctr">
              <a:lnSpc>
                <a:spcPct val="110000"/>
              </a:lnSpc>
              <a:spcBef>
                <a:spcPts val="400"/>
              </a:spcBef>
            </a:pP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Abu Ibne Bayazid</a:t>
            </a:r>
          </a:p>
          <a:p>
            <a:pPr algn="ctr"/>
            <a:endParaRPr lang="en-US" sz="1600" b="1" dirty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endParaRPr lang="en-US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284190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AMPLE REPORT: ACTIVITY TREND BY COUNTR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5"/>
          <a:stretch/>
        </p:blipFill>
        <p:spPr>
          <a:xfrm>
            <a:off x="1052423" y="573930"/>
            <a:ext cx="11110392" cy="574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304972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AMPLE REPORT: 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TWEET ANALYSIS</a:t>
            </a:r>
            <a:endParaRPr lang="en-US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740" y="523498"/>
            <a:ext cx="11277427" cy="5825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590140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AMPLE REPORT: ACTIVITY TREN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15" y="486669"/>
            <a:ext cx="11073109" cy="587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7472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AMPLE REPORT: 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FOLLOWER NETWORK</a:t>
            </a:r>
            <a:endParaRPr lang="en-US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68" y="530363"/>
            <a:ext cx="11291547" cy="5792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157866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14590" y="465544"/>
            <a:ext cx="7499443" cy="54897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/>
          </a:p>
          <a:p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Enrich the physician base including other platforms (e.g., Facebook, YouTube etc. ) and searching different criteri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Master data management </a:t>
            </a:r>
          </a:p>
          <a:p>
            <a:endParaRPr lang="en-US" sz="1400" dirty="0"/>
          </a:p>
          <a:p>
            <a:pPr marL="895335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map physicians across different social media </a:t>
            </a:r>
          </a:p>
          <a:p>
            <a:pPr marL="895335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To map to actual physician so that we could find out some concreate information</a:t>
            </a:r>
          </a:p>
          <a:p>
            <a:pPr marL="895335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To  eliminate garbage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Sentiment analysis to identify physician’s interest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lvl="1">
              <a:lnSpc>
                <a:spcPct val="110000"/>
              </a:lnSpc>
              <a:spcBef>
                <a:spcPts val="400"/>
              </a:spcBef>
            </a:pPr>
            <a:endParaRPr lang="en-US" sz="1400" dirty="0">
              <a:latin typeface="Times New Roman"/>
              <a:cs typeface="Times New Roman"/>
            </a:endParaRPr>
          </a:p>
          <a:p>
            <a:endParaRPr lang="en-US" sz="1400" dirty="0"/>
          </a:p>
          <a:p>
            <a:endParaRPr lang="en-US" sz="1400" dirty="0"/>
          </a:p>
          <a:p>
            <a:endParaRPr lang="en-US" sz="4000" b="1" dirty="0">
              <a:solidFill>
                <a:schemeClr val="accent2"/>
              </a:solidFill>
            </a:endParaRPr>
          </a:p>
          <a:p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COPE OF ENHANCEMENT:</a:t>
            </a:r>
          </a:p>
        </p:txBody>
      </p:sp>
    </p:spTree>
    <p:extLst>
      <p:ext uri="{BB962C8B-B14F-4D97-AF65-F5344CB8AC3E}">
        <p14:creationId xmlns:p14="http://schemas.microsoft.com/office/powerpoint/2010/main" val="909042458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7D84637-8D80-4FD1-94BD-C8896B677625}"/>
              </a:ext>
            </a:extLst>
          </p:cNvPr>
          <p:cNvSpPr/>
          <p:nvPr/>
        </p:nvSpPr>
        <p:spPr>
          <a:xfrm>
            <a:off x="4141177" y="2136531"/>
            <a:ext cx="398425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5400" dirty="0" err="1">
                <a:solidFill>
                  <a:schemeClr val="accent6">
                    <a:lumMod val="75000"/>
                  </a:schemeClr>
                </a:solidFill>
              </a:rPr>
              <a:t>Thank</a:t>
            </a:r>
            <a:r>
              <a:rPr lang="fr-FR" sz="5400" dirty="0">
                <a:solidFill>
                  <a:schemeClr val="accent6">
                    <a:lumMod val="75000"/>
                  </a:schemeClr>
                </a:solidFill>
              </a:rPr>
              <a:t> You 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3412870861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19456" y="466344"/>
            <a:ext cx="11064240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b="1" dirty="0"/>
              <a:t>We are connected </a:t>
            </a:r>
            <a:r>
              <a:rPr lang="en-US" sz="1400" dirty="0"/>
              <a:t>through social media</a:t>
            </a:r>
          </a:p>
          <a:p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400" b="1" dirty="0"/>
              <a:t>Medicine in the Age of Twitter </a:t>
            </a:r>
            <a:r>
              <a:rPr lang="en-US" sz="1400" dirty="0"/>
              <a:t>- The New York Tim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400" dirty="0"/>
          </a:p>
          <a:p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400" b="1" dirty="0"/>
              <a:t>Statistics on How Social Media Is Changing the Healthcare Industry</a:t>
            </a:r>
          </a:p>
          <a:p>
            <a:endParaRPr lang="en-US" sz="1400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33% of U.S. consumers use social media for healthcare information. </a:t>
            </a:r>
          </a:p>
          <a:p>
            <a:pPr lvl="1"/>
            <a:r>
              <a:rPr lang="en-US" sz="1400" dirty="0"/>
              <a:t>                                                                        (</a:t>
            </a:r>
            <a:r>
              <a:rPr lang="en-US" sz="1400" i="1" dirty="0"/>
              <a:t>source: Search Engine Watch</a:t>
            </a:r>
            <a:r>
              <a:rPr lang="en-US" sz="14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60% of doctors say social media improve the quality of care delivered </a:t>
            </a:r>
          </a:p>
          <a:p>
            <a:pPr lvl="1"/>
            <a:r>
              <a:rPr lang="en-US" sz="1400" dirty="0"/>
              <a:t>      to patients.    (</a:t>
            </a:r>
            <a:r>
              <a:rPr lang="en-US" sz="1400" i="1" dirty="0"/>
              <a:t>source: Demi &amp; Cooper Advertising and DC Interactive Group</a:t>
            </a:r>
            <a:r>
              <a:rPr lang="en-US" sz="1400" dirty="0"/>
              <a:t>)</a:t>
            </a:r>
          </a:p>
          <a:p>
            <a:pPr lvl="2"/>
            <a:endParaRPr lang="en-US" sz="1400" dirty="0"/>
          </a:p>
          <a:p>
            <a:pPr lvl="2"/>
            <a:endParaRPr lang="en-US" sz="1400" dirty="0"/>
          </a:p>
          <a:p>
            <a:pPr lvl="2"/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b="1" dirty="0"/>
              <a:t>Social media sites are increasingly implementing marketing-friendly strategies</a:t>
            </a:r>
            <a:r>
              <a:rPr lang="en-US" sz="1400" dirty="0"/>
              <a:t>,</a:t>
            </a:r>
          </a:p>
          <a:p>
            <a:r>
              <a:rPr lang="en-US" sz="1400" dirty="0"/>
              <a:t>     creating platforms that are mutually beneficial for users, businesses, </a:t>
            </a:r>
          </a:p>
          <a:p>
            <a:r>
              <a:rPr lang="en-US" sz="1400" dirty="0"/>
              <a:t>     and the networks themselves</a:t>
            </a:r>
          </a:p>
          <a:p>
            <a:pPr lvl="2"/>
            <a:endParaRPr lang="en-US" sz="1400" dirty="0"/>
          </a:p>
          <a:p>
            <a:pPr lvl="2"/>
            <a:endParaRPr lang="en-US" sz="1400" dirty="0"/>
          </a:p>
          <a:p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    </a:t>
            </a:r>
          </a:p>
          <a:p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953" y="630918"/>
            <a:ext cx="4195862" cy="258894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954" y="3308574"/>
            <a:ext cx="4195862" cy="270312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MOTIVATION:</a:t>
            </a:r>
          </a:p>
        </p:txBody>
      </p:sp>
    </p:spTree>
    <p:extLst>
      <p:ext uri="{BB962C8B-B14F-4D97-AF65-F5344CB8AC3E}">
        <p14:creationId xmlns:p14="http://schemas.microsoft.com/office/powerpoint/2010/main" val="9370977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Image result for single person cute clipart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87" y="636015"/>
            <a:ext cx="1004920" cy="1629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Image result for single person cute clipar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9620" y="1405781"/>
            <a:ext cx="567500" cy="169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Image result for social media marketi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1264" y="423818"/>
            <a:ext cx="3471456" cy="3014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Image result for single person cute clipart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947" y="1405781"/>
            <a:ext cx="644525" cy="169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940778" y="3157279"/>
            <a:ext cx="1017418" cy="338554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ser</a:t>
            </a:r>
          </a:p>
        </p:txBody>
      </p:sp>
      <p:sp>
        <p:nvSpPr>
          <p:cNvPr id="11" name="Right Arrow 10"/>
          <p:cNvSpPr/>
          <p:nvPr/>
        </p:nvSpPr>
        <p:spPr>
          <a:xfrm rot="20824482">
            <a:off x="2104895" y="2118578"/>
            <a:ext cx="1403666" cy="369990"/>
          </a:xfrm>
          <a:prstGeom prst="rightArrow">
            <a:avLst>
              <a:gd name="adj1" fmla="val 50000"/>
              <a:gd name="adj2" fmla="val 135519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Arrow 11"/>
          <p:cNvSpPr/>
          <p:nvPr/>
        </p:nvSpPr>
        <p:spPr>
          <a:xfrm rot="21227861">
            <a:off x="6786493" y="1466532"/>
            <a:ext cx="2171489" cy="395715"/>
          </a:xfrm>
          <a:prstGeom prst="rightArrow">
            <a:avLst>
              <a:gd name="adj1" fmla="val 50000"/>
              <a:gd name="adj2" fmla="val 159441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691090" y="7873623"/>
            <a:ext cx="1459096" cy="369332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Social Media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032686" y="2738867"/>
            <a:ext cx="3308552" cy="33158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Extract Data and Processing</a:t>
            </a:r>
          </a:p>
        </p:txBody>
      </p:sp>
      <p:pic>
        <p:nvPicPr>
          <p:cNvPr id="15" name="Picture 14" descr="Image result for data extraction images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03" r="18765"/>
          <a:stretch/>
        </p:blipFill>
        <p:spPr bwMode="auto">
          <a:xfrm>
            <a:off x="8733911" y="415189"/>
            <a:ext cx="1708021" cy="234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urved Left Arrow 17"/>
          <p:cNvSpPr/>
          <p:nvPr/>
        </p:nvSpPr>
        <p:spPr>
          <a:xfrm>
            <a:off x="10393387" y="1339696"/>
            <a:ext cx="1461507" cy="3838794"/>
          </a:xfrm>
          <a:prstGeom prst="curvedLeftArrow">
            <a:avLst>
              <a:gd name="adj1" fmla="val 18248"/>
              <a:gd name="adj2" fmla="val 55897"/>
              <a:gd name="adj3" fmla="val 3713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0" name="Picture 16" descr="Related image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86"/>
          <a:stretch/>
        </p:blipFill>
        <p:spPr bwMode="auto">
          <a:xfrm>
            <a:off x="1788606" y="3964687"/>
            <a:ext cx="3928905" cy="226969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2883882" y="6331225"/>
            <a:ext cx="2253617" cy="338554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I Repor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939026" y="6274578"/>
            <a:ext cx="2752311" cy="338554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repare Core DataMart</a:t>
            </a:r>
          </a:p>
        </p:txBody>
      </p:sp>
      <p:pic>
        <p:nvPicPr>
          <p:cNvPr id="24" name="Picture 18" descr="Image result for data extraction images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18" b="4137"/>
          <a:stretch/>
        </p:blipFill>
        <p:spPr bwMode="auto">
          <a:xfrm>
            <a:off x="7971439" y="3785343"/>
            <a:ext cx="2421948" cy="2449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4010691" y="3462206"/>
            <a:ext cx="2114218" cy="32313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Social Media</a:t>
            </a:r>
          </a:p>
        </p:txBody>
      </p:sp>
      <p:sp>
        <p:nvSpPr>
          <p:cNvPr id="26" name="Rectangle 25"/>
          <p:cNvSpPr/>
          <p:nvPr/>
        </p:nvSpPr>
        <p:spPr>
          <a:xfrm>
            <a:off x="0" y="-125476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IDEA OVERVIEW:</a:t>
            </a:r>
          </a:p>
        </p:txBody>
      </p:sp>
      <p:sp>
        <p:nvSpPr>
          <p:cNvPr id="27" name="Right Arrow 26"/>
          <p:cNvSpPr/>
          <p:nvPr/>
        </p:nvSpPr>
        <p:spPr>
          <a:xfrm rot="10376798">
            <a:off x="5831050" y="5128460"/>
            <a:ext cx="2292789" cy="395715"/>
          </a:xfrm>
          <a:prstGeom prst="rightArrow">
            <a:avLst>
              <a:gd name="adj1" fmla="val 50000"/>
              <a:gd name="adj2" fmla="val 159441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851039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14590" y="465544"/>
            <a:ext cx="7499443" cy="7209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Outcomes</a:t>
            </a:r>
          </a:p>
          <a:p>
            <a:endParaRPr lang="en-US" sz="1400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Prepare a central data warehouse based on the activity of physicians on diffident platform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Follow Physician’s activity on social media over the period of tim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Prepare an analytics platform to analyze physicians data from different perspective (individual, country, platform, activity status) to identify their interest</a:t>
            </a:r>
          </a:p>
          <a:p>
            <a:endParaRPr lang="en-US" sz="2400" dirty="0"/>
          </a:p>
          <a:p>
            <a:endParaRPr lang="en-US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Business Value</a:t>
            </a:r>
          </a:p>
          <a:p>
            <a:endParaRPr lang="en-US" sz="1400" dirty="0"/>
          </a:p>
          <a:p>
            <a:pPr marL="742950" lvl="1" indent="-285750">
              <a:lnSpc>
                <a:spcPct val="11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latin typeface="Times New Roman"/>
                <a:cs typeface="Times New Roman"/>
              </a:rPr>
              <a:t>This can be an important data source for any company who works with healthcare data</a:t>
            </a:r>
            <a:r>
              <a:rPr lang="en-US" sz="1400" dirty="0"/>
              <a:t>.</a:t>
            </a:r>
            <a:endParaRPr lang="en-US" sz="1400" dirty="0">
              <a:latin typeface="Times New Roman"/>
              <a:cs typeface="Times New Roman"/>
            </a:endParaRPr>
          </a:p>
          <a:p>
            <a:pPr marL="742950" lvl="1" indent="-285750">
              <a:lnSpc>
                <a:spcPct val="11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latin typeface="Times New Roman"/>
                <a:cs typeface="Times New Roman"/>
              </a:rPr>
              <a:t>This can facilities clients to promote their products in Social Media in a efficient manner.</a:t>
            </a:r>
          </a:p>
          <a:p>
            <a:pPr marL="742950" lvl="1" indent="-285750">
              <a:lnSpc>
                <a:spcPct val="11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latin typeface="Times New Roman"/>
                <a:cs typeface="Times New Roman"/>
              </a:rPr>
              <a:t>It will save time to introduce a products (Drugs &amp; Medical equipment) among the Physicians</a:t>
            </a:r>
          </a:p>
          <a:p>
            <a:pPr marL="742950" lvl="1" indent="-285750">
              <a:lnSpc>
                <a:spcPct val="11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latin typeface="Times New Roman"/>
                <a:cs typeface="Times New Roman"/>
              </a:rPr>
              <a:t>This can be an </a:t>
            </a:r>
            <a:r>
              <a:rPr lang="en-US" sz="1400" b="1" dirty="0">
                <a:latin typeface="Times New Roman"/>
                <a:cs typeface="Times New Roman"/>
              </a:rPr>
              <a:t>A</a:t>
            </a:r>
            <a:r>
              <a:rPr lang="en-US" sz="1400" dirty="0">
                <a:latin typeface="Times New Roman"/>
                <a:cs typeface="Times New Roman"/>
              </a:rPr>
              <a:t>bove </a:t>
            </a:r>
            <a:r>
              <a:rPr lang="en-US" sz="1400" b="1" dirty="0">
                <a:latin typeface="Times New Roman"/>
                <a:cs typeface="Times New Roman"/>
              </a:rPr>
              <a:t>T</a:t>
            </a:r>
            <a:r>
              <a:rPr lang="en-US" sz="1400" dirty="0">
                <a:latin typeface="Times New Roman"/>
                <a:cs typeface="Times New Roman"/>
              </a:rPr>
              <a:t>he </a:t>
            </a:r>
            <a:r>
              <a:rPr lang="en-US" sz="1400" b="1" dirty="0">
                <a:latin typeface="Times New Roman"/>
                <a:cs typeface="Times New Roman"/>
              </a:rPr>
              <a:t>L</a:t>
            </a:r>
            <a:r>
              <a:rPr lang="en-US" sz="1400" dirty="0">
                <a:latin typeface="Times New Roman"/>
                <a:cs typeface="Times New Roman"/>
              </a:rPr>
              <a:t>ine(</a:t>
            </a:r>
            <a:r>
              <a:rPr lang="en-US" sz="1400" b="1" dirty="0">
                <a:latin typeface="Times New Roman"/>
                <a:cs typeface="Times New Roman"/>
              </a:rPr>
              <a:t>ATL</a:t>
            </a:r>
            <a:r>
              <a:rPr lang="en-US" sz="1400" dirty="0">
                <a:latin typeface="Times New Roman"/>
                <a:cs typeface="Times New Roman"/>
              </a:rPr>
              <a:t>) marketing approach</a:t>
            </a:r>
          </a:p>
          <a:p>
            <a:pPr lvl="1">
              <a:lnSpc>
                <a:spcPct val="110000"/>
              </a:lnSpc>
              <a:spcBef>
                <a:spcPts val="400"/>
              </a:spcBef>
            </a:pPr>
            <a:endParaRPr lang="en-US" sz="1400" dirty="0">
              <a:latin typeface="Times New Roman"/>
              <a:cs typeface="Times New Roman"/>
            </a:endParaRPr>
          </a:p>
          <a:p>
            <a:endParaRPr lang="en-US" sz="1400" dirty="0"/>
          </a:p>
          <a:p>
            <a:endParaRPr lang="en-US" sz="1400" dirty="0"/>
          </a:p>
          <a:p>
            <a:endParaRPr lang="en-US" sz="4000" b="1" dirty="0">
              <a:solidFill>
                <a:schemeClr val="accent2"/>
              </a:solidFill>
            </a:endParaRPr>
          </a:p>
          <a:p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OUTCOMES AND BUSINESS VALUE:</a:t>
            </a:r>
          </a:p>
        </p:txBody>
      </p:sp>
    </p:spTree>
    <p:extLst>
      <p:ext uri="{BB962C8B-B14F-4D97-AF65-F5344CB8AC3E}">
        <p14:creationId xmlns:p14="http://schemas.microsoft.com/office/powerpoint/2010/main" val="2570613543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14591" y="465544"/>
            <a:ext cx="4892430" cy="60324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Techniques</a:t>
            </a:r>
          </a:p>
          <a:p>
            <a:endParaRPr lang="en-US" sz="1400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Social network analysi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Dimensional modeli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Text Analysis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Tools </a:t>
            </a:r>
          </a:p>
          <a:p>
            <a:endParaRPr lang="en-US" sz="1400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Twitter API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R and its package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Power BI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/>
              <a:t>MongoDB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endParaRPr lang="en-US" sz="1400" dirty="0"/>
          </a:p>
          <a:p>
            <a:endParaRPr lang="en-US" sz="4000" b="1" dirty="0">
              <a:solidFill>
                <a:schemeClr val="accent2"/>
              </a:solidFill>
            </a:endParaRPr>
          </a:p>
          <a:p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GB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TECHNIQUES AND TOOLS: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541574">
            <a:off x="6992268" y="4109571"/>
            <a:ext cx="4109045" cy="1134241"/>
          </a:xfrm>
          <a:prstGeom prst="rect">
            <a:avLst/>
          </a:prstGeom>
        </p:spPr>
      </p:pic>
      <p:pic>
        <p:nvPicPr>
          <p:cNvPr id="6" name="Picture 8" descr="Image result for r programming logo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81"/>
          <a:stretch/>
        </p:blipFill>
        <p:spPr bwMode="auto">
          <a:xfrm rot="1197975">
            <a:off x="7463103" y="1210067"/>
            <a:ext cx="3228674" cy="188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Image result for r programming logo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621541">
            <a:off x="6078359" y="2092639"/>
            <a:ext cx="2742170" cy="1121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Server Density Monitoring and MongoDB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26314">
            <a:off x="7369734" y="2707281"/>
            <a:ext cx="2045482" cy="2045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579415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052571" y="1488614"/>
            <a:ext cx="2626471" cy="10019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200" dirty="0">
                <a:solidFill>
                  <a:schemeClr val="tx1"/>
                </a:solidFill>
              </a:rPr>
              <a:t>Extract account details from social media (e.g. Twitter) using R.</a:t>
            </a:r>
          </a:p>
          <a:p>
            <a:pPr algn="ctr">
              <a:spcBef>
                <a:spcPts val="200"/>
              </a:spcBef>
            </a:pPr>
            <a:endParaRPr lang="en-US" sz="1200" dirty="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US" sz="1200" dirty="0">
                <a:solidFill>
                  <a:schemeClr val="tx1"/>
                </a:solidFill>
              </a:rPr>
              <a:t>Search criteria on name: ‘</a:t>
            </a:r>
            <a:r>
              <a:rPr lang="en-US" sz="1200" b="1" dirty="0" err="1">
                <a:solidFill>
                  <a:schemeClr val="tx1"/>
                </a:solidFill>
              </a:rPr>
              <a:t>Dr</a:t>
            </a:r>
            <a:r>
              <a:rPr lang="en-US" sz="1200" dirty="0">
                <a:solidFill>
                  <a:schemeClr val="tx1"/>
                </a:solidFill>
              </a:rPr>
              <a:t>’ </a:t>
            </a:r>
          </a:p>
        </p:txBody>
      </p:sp>
      <p:sp>
        <p:nvSpPr>
          <p:cNvPr id="5" name="Rectangle 4"/>
          <p:cNvSpPr/>
          <p:nvPr/>
        </p:nvSpPr>
        <p:spPr>
          <a:xfrm>
            <a:off x="4638853" y="1495094"/>
            <a:ext cx="2626471" cy="10019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200" dirty="0">
                <a:solidFill>
                  <a:schemeClr val="tx1"/>
                </a:solidFill>
              </a:rPr>
              <a:t>Extract Tweets of all accounts in the initial base using R.</a:t>
            </a:r>
          </a:p>
          <a:p>
            <a:pPr algn="ctr">
              <a:spcBef>
                <a:spcPts val="200"/>
              </a:spcBef>
            </a:pPr>
            <a:endParaRPr lang="en-US" sz="1200" dirty="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US" sz="1200" dirty="0">
                <a:solidFill>
                  <a:schemeClr val="tx1"/>
                </a:solidFill>
              </a:rPr>
              <a:t>Max Tweets around 3200</a:t>
            </a:r>
          </a:p>
        </p:txBody>
      </p:sp>
      <p:sp>
        <p:nvSpPr>
          <p:cNvPr id="6" name="Rectangle 5"/>
          <p:cNvSpPr/>
          <p:nvPr/>
        </p:nvSpPr>
        <p:spPr>
          <a:xfrm>
            <a:off x="8267277" y="1514552"/>
            <a:ext cx="2626471" cy="10019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US" sz="1200" dirty="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US" sz="1200" dirty="0">
                <a:solidFill>
                  <a:schemeClr val="tx1"/>
                </a:solidFill>
              </a:rPr>
              <a:t>Extract follower list of all accounts in the initial base using R.</a:t>
            </a:r>
          </a:p>
        </p:txBody>
      </p:sp>
      <p:sp>
        <p:nvSpPr>
          <p:cNvPr id="7" name="Rectangle 6"/>
          <p:cNvSpPr/>
          <p:nvPr/>
        </p:nvSpPr>
        <p:spPr>
          <a:xfrm>
            <a:off x="8423091" y="3106771"/>
            <a:ext cx="2603751" cy="10019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US" sz="1200" dirty="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US" sz="1200" dirty="0">
                <a:solidFill>
                  <a:schemeClr val="tx1"/>
                </a:solidFill>
              </a:rPr>
              <a:t>Load data to database</a:t>
            </a:r>
          </a:p>
        </p:txBody>
      </p:sp>
      <p:sp>
        <p:nvSpPr>
          <p:cNvPr id="8" name="Rectangle 7"/>
          <p:cNvSpPr/>
          <p:nvPr/>
        </p:nvSpPr>
        <p:spPr>
          <a:xfrm>
            <a:off x="4061834" y="3058017"/>
            <a:ext cx="2626471" cy="10019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US" sz="1200" dirty="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US" sz="1200" dirty="0">
                <a:solidFill>
                  <a:schemeClr val="tx1"/>
                </a:solidFill>
              </a:rPr>
              <a:t>Transform data into dimensional model</a:t>
            </a:r>
          </a:p>
        </p:txBody>
      </p:sp>
      <p:sp>
        <p:nvSpPr>
          <p:cNvPr id="9" name="Rectangle 8"/>
          <p:cNvSpPr/>
          <p:nvPr/>
        </p:nvSpPr>
        <p:spPr>
          <a:xfrm>
            <a:off x="4685855" y="4705361"/>
            <a:ext cx="2626471" cy="10019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endParaRPr lang="en-US" sz="1200" dirty="0">
              <a:solidFill>
                <a:schemeClr val="tx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n-US" sz="1200" dirty="0">
                <a:solidFill>
                  <a:schemeClr val="tx1"/>
                </a:solidFill>
              </a:rPr>
              <a:t>Prepare dashboard using Power BI </a:t>
            </a:r>
          </a:p>
        </p:txBody>
      </p:sp>
      <p:sp>
        <p:nvSpPr>
          <p:cNvPr id="29" name="Right Arrow 28"/>
          <p:cNvSpPr/>
          <p:nvPr/>
        </p:nvSpPr>
        <p:spPr>
          <a:xfrm>
            <a:off x="3679042" y="1867999"/>
            <a:ext cx="978408" cy="350313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/>
          </a:p>
        </p:txBody>
      </p:sp>
      <p:sp>
        <p:nvSpPr>
          <p:cNvPr id="30" name="Right Arrow 29"/>
          <p:cNvSpPr/>
          <p:nvPr/>
        </p:nvSpPr>
        <p:spPr>
          <a:xfrm>
            <a:off x="7281559" y="1868000"/>
            <a:ext cx="978408" cy="282104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/>
          </a:p>
        </p:txBody>
      </p:sp>
      <p:sp>
        <p:nvSpPr>
          <p:cNvPr id="32" name="Down Arrow 31"/>
          <p:cNvSpPr/>
          <p:nvPr/>
        </p:nvSpPr>
        <p:spPr>
          <a:xfrm>
            <a:off x="9436056" y="2516507"/>
            <a:ext cx="288911" cy="541510"/>
          </a:xfrm>
          <a:prstGeom prst="downArrow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/>
          </a:p>
        </p:txBody>
      </p:sp>
      <p:sp>
        <p:nvSpPr>
          <p:cNvPr id="34" name="Left Arrow 33"/>
          <p:cNvSpPr/>
          <p:nvPr/>
        </p:nvSpPr>
        <p:spPr>
          <a:xfrm>
            <a:off x="6708817" y="3366060"/>
            <a:ext cx="1714274" cy="330740"/>
          </a:xfrm>
          <a:prstGeom prst="leftArrow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/>
          </a:p>
        </p:txBody>
      </p:sp>
      <p:sp>
        <p:nvSpPr>
          <p:cNvPr id="36" name="Rectangle 35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PROCESS FLOW OF THE PROTOTYP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712105" y="1070450"/>
            <a:ext cx="10642060" cy="1663430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algn="ctr"/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Extract Data </a:t>
            </a:r>
            <a:endParaRPr lang="en-GB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12105" y="2733880"/>
            <a:ext cx="10642060" cy="153696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algn="ctr"/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Load and Transform </a:t>
            </a:r>
            <a:endParaRPr lang="en-GB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718982" y="4276939"/>
            <a:ext cx="10642060" cy="153696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algn="ctr"/>
            <a:r>
              <a:rPr lang="en-US" sz="1800" b="1" dirty="0">
                <a:solidFill>
                  <a:schemeClr val="accent2">
                    <a:lumMod val="75000"/>
                  </a:schemeClr>
                </a:solidFill>
              </a:rPr>
              <a:t>Dashboard and Analysis</a:t>
            </a:r>
            <a:endParaRPr lang="en-GB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3" name="Left Arrow 42"/>
          <p:cNvSpPr/>
          <p:nvPr/>
        </p:nvSpPr>
        <p:spPr>
          <a:xfrm rot="10800000">
            <a:off x="3255133" y="5106149"/>
            <a:ext cx="1430722" cy="330740"/>
          </a:xfrm>
          <a:prstGeom prst="leftArrow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/>
          </a:p>
        </p:txBody>
      </p:sp>
      <p:sp>
        <p:nvSpPr>
          <p:cNvPr id="44" name="Rectangle 43"/>
          <p:cNvSpPr/>
          <p:nvPr/>
        </p:nvSpPr>
        <p:spPr>
          <a:xfrm rot="16200000">
            <a:off x="2466500" y="4348083"/>
            <a:ext cx="1787164" cy="209901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/>
          </a:p>
        </p:txBody>
      </p:sp>
      <p:sp>
        <p:nvSpPr>
          <p:cNvPr id="45" name="Rectangle 44"/>
          <p:cNvSpPr/>
          <p:nvPr/>
        </p:nvSpPr>
        <p:spPr>
          <a:xfrm>
            <a:off x="3255131" y="3493811"/>
            <a:ext cx="806703" cy="190021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287845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DIMENSIONAL MODEL: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210" y="534774"/>
            <a:ext cx="11266099" cy="578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639472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AMPLE REPORT: ACTIVATION AND DORMANT REPOR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4596" y="525048"/>
            <a:ext cx="10548710" cy="585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486584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-4712"/>
            <a:ext cx="12162815" cy="4616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AMPLE REPORT: ACCOUNT DETAIL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322" y="558650"/>
            <a:ext cx="10435141" cy="58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622413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eenImage2_23July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ＭＳ Ｐゴシック" charset="-128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uintiles-IMS PowerPoint Template_WS_14Oct2016_v1.pptx" id="{856FAC5F-7B17-4E2E-ABD9-9E010636F357}" vid="{E8BCEE65-8E08-4147-A774-3EF71BE6EBBC}"/>
    </a:ext>
  </a:extLst>
</a:theme>
</file>

<file path=ppt/theme/theme2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526</TotalTime>
  <Words>401</Words>
  <Application>Microsoft Office PowerPoint</Application>
  <PresentationFormat>Widescreen</PresentationFormat>
  <Paragraphs>122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ＭＳ Ｐゴシック</vt:lpstr>
      <vt:lpstr>Arial</vt:lpstr>
      <vt:lpstr>Arial Regular</vt:lpstr>
      <vt:lpstr>Georgia</vt:lpstr>
      <vt:lpstr>Lucida Grande</vt:lpstr>
      <vt:lpstr>Times New Roman</vt:lpstr>
      <vt:lpstr>Wingdings</vt:lpstr>
      <vt:lpstr>GreenImage2_23July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Signa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QuintilesIMS</dc:creator>
  <cp:keywords/>
  <dc:description/>
  <cp:lastModifiedBy>Bayazid, Abu Ibne</cp:lastModifiedBy>
  <cp:revision>544</cp:revision>
  <cp:lastPrinted>2016-11-29T22:51:08Z</cp:lastPrinted>
  <dcterms:created xsi:type="dcterms:W3CDTF">2016-10-13T20:05:05Z</dcterms:created>
  <dcterms:modified xsi:type="dcterms:W3CDTF">2018-06-07T04:51:06Z</dcterms:modified>
  <cp:category/>
</cp:coreProperties>
</file>